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5"/>
  </p:notesMasterIdLst>
  <p:handoutMasterIdLst>
    <p:handoutMasterId r:id="rId16"/>
  </p:handoutMasterIdLst>
  <p:sldIdLst>
    <p:sldId id="407" r:id="rId6"/>
    <p:sldId id="396" r:id="rId7"/>
    <p:sldId id="389" r:id="rId8"/>
    <p:sldId id="393" r:id="rId9"/>
    <p:sldId id="373" r:id="rId10"/>
    <p:sldId id="409" r:id="rId11"/>
    <p:sldId id="387" r:id="rId12"/>
    <p:sldId id="388" r:id="rId13"/>
    <p:sldId id="408" r:id="rId14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8D"/>
    <a:srgbClr val="FFD88B"/>
    <a:srgbClr val="EE832A"/>
    <a:srgbClr val="FFB219"/>
    <a:srgbClr val="FFB400"/>
    <a:srgbClr val="FFDC95"/>
    <a:srgbClr val="DBE2ED"/>
    <a:srgbClr val="BAC5D0"/>
    <a:srgbClr val="D2D9E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88" autoAdjust="0"/>
    <p:restoredTop sz="94434" autoAdjust="0"/>
  </p:normalViewPr>
  <p:slideViewPr>
    <p:cSldViewPr>
      <p:cViewPr varScale="1">
        <p:scale>
          <a:sx n="71" d="100"/>
          <a:sy n="71" d="100"/>
        </p:scale>
        <p:origin x="798" y="54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7\12.%20Dicembre\Elaborati%20finali\Secondi%20di%20Avvis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7\12.%20Dicembre\Elaborati%20finali\Trend%20Fatturato%20Totale%20per%20tabell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7\12.%20Dicembre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17806685218579E-2"/>
          <c:y val="7.2684016264971577E-2"/>
          <c:w val="0.97736438662956282"/>
          <c:h val="0.78581024776962638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0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smtClean="0"/>
                      <a:t>0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Secondi di Avvisi.xlsx]grafico'!$B$1:$M$1,'[Secondi di Avvisi.xlsx]grafico'!$O$1:$P$1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'[Secondi di Avvisi.xlsx]grafico'!$B$2:$N$2,'[Secondi di Avvisi.xlsx]grafico'!$O$2:$P$2</c:f>
              <c:numCache>
                <c:formatCode>0.0%</c:formatCode>
                <c:ptCount val="15"/>
                <c:pt idx="0">
                  <c:v>2.655515633948368E-3</c:v>
                </c:pt>
                <c:pt idx="1">
                  <c:v>3.0572313574723279E-3</c:v>
                </c:pt>
                <c:pt idx="2">
                  <c:v>1.1534352322552038E-2</c:v>
                </c:pt>
                <c:pt idx="3">
                  <c:v>1.5323977453264555E-2</c:v>
                </c:pt>
                <c:pt idx="4">
                  <c:v>9.3351284251486991E-3</c:v>
                </c:pt>
                <c:pt idx="5">
                  <c:v>2.0698334536912728E-2</c:v>
                </c:pt>
                <c:pt idx="6">
                  <c:v>1.2676586362808773E-2</c:v>
                </c:pt>
                <c:pt idx="7">
                  <c:v>9.0053126612927824E-3</c:v>
                </c:pt>
                <c:pt idx="8">
                  <c:v>5.0426728941196357E-3</c:v>
                </c:pt>
                <c:pt idx="9">
                  <c:v>6.1733587319054923E-3</c:v>
                </c:pt>
                <c:pt idx="10">
                  <c:v>8.0533327470467177E-3</c:v>
                </c:pt>
                <c:pt idx="11">
                  <c:v>7.184920230259957E-3</c:v>
                </c:pt>
                <c:pt idx="13">
                  <c:v>8.7899001398814621E-3</c:v>
                </c:pt>
                <c:pt idx="14">
                  <c:v>9.4392662891687427E-3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3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5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4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9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7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5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13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5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smtClean="0"/>
                      <a:t>16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6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4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Secondi di Avvisi.xlsx]grafico'!$B$1:$M$1,'[Secondi di Avvisi.xlsx]grafico'!$O$1:$P$1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'[Secondi di Avvisi.xlsx]grafico'!$B$3:$N$3,'[Secondi di Avvisi.xlsx]grafico'!$O$3:$P$3</c:f>
              <c:numCache>
                <c:formatCode>0.0%</c:formatCode>
                <c:ptCount val="15"/>
                <c:pt idx="0">
                  <c:v>0.1221737155142902</c:v>
                </c:pt>
                <c:pt idx="1">
                  <c:v>0.13715906979200199</c:v>
                </c:pt>
                <c:pt idx="2">
                  <c:v>0.12153504105953931</c:v>
                </c:pt>
                <c:pt idx="3">
                  <c:v>0.13759632638559216</c:v>
                </c:pt>
                <c:pt idx="4">
                  <c:v>0.15558588061825696</c:v>
                </c:pt>
                <c:pt idx="5">
                  <c:v>0.1438923596133683</c:v>
                </c:pt>
                <c:pt idx="6">
                  <c:v>0.19560644010981226</c:v>
                </c:pt>
                <c:pt idx="7">
                  <c:v>0.17697456609322965</c:v>
                </c:pt>
                <c:pt idx="8">
                  <c:v>0.1546242054605412</c:v>
                </c:pt>
                <c:pt idx="9">
                  <c:v>0.13901907541823763</c:v>
                </c:pt>
                <c:pt idx="10">
                  <c:v>0.15101402246335338</c:v>
                </c:pt>
                <c:pt idx="11">
                  <c:v>0.1622591241870259</c:v>
                </c:pt>
                <c:pt idx="13">
                  <c:v>0.16771333870418315</c:v>
                </c:pt>
                <c:pt idx="14">
                  <c:v>0.14903261359028888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1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4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2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4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3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3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Secondi di Avvisi.xlsx]grafico'!$B$1:$M$1,'[Secondi di Avvisi.xlsx]grafico'!$O$1:$P$1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'[Secondi di Avvisi.xlsx]grafico'!$B$4:$N$4,'[Secondi di Avvisi.xlsx]grafico'!$O$4:$P$4</c:f>
              <c:numCache>
                <c:formatCode>0.0%</c:formatCode>
                <c:ptCount val="15"/>
                <c:pt idx="0">
                  <c:v>0.12235368268827766</c:v>
                </c:pt>
                <c:pt idx="1">
                  <c:v>0.11600013133367656</c:v>
                </c:pt>
                <c:pt idx="2">
                  <c:v>0.13300592712251949</c:v>
                </c:pt>
                <c:pt idx="3">
                  <c:v>0.15055263785591705</c:v>
                </c:pt>
                <c:pt idx="4">
                  <c:v>0.14768739525749111</c:v>
                </c:pt>
                <c:pt idx="5">
                  <c:v>0.12859182287619395</c:v>
                </c:pt>
                <c:pt idx="6">
                  <c:v>0.14118295599103847</c:v>
                </c:pt>
                <c:pt idx="7">
                  <c:v>0.12718509889718541</c:v>
                </c:pt>
                <c:pt idx="8">
                  <c:v>0.12281897775510242</c:v>
                </c:pt>
                <c:pt idx="9">
                  <c:v>0.12865811238542876</c:v>
                </c:pt>
                <c:pt idx="10">
                  <c:v>0.1059479166983394</c:v>
                </c:pt>
                <c:pt idx="11">
                  <c:v>0.14555366569751979</c:v>
                </c:pt>
                <c:pt idx="13">
                  <c:v>0.13219136898711936</c:v>
                </c:pt>
                <c:pt idx="14">
                  <c:v>0.13073133303474513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chemeClr val="accent5">
                <a:lumMod val="2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3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6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6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8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6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66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70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70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71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smtClean="0"/>
                      <a:t>66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66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69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Secondi di Avvisi.xlsx]grafico'!$B$1:$M$1,'[Secondi di Avvisi.xlsx]grafico'!$O$1:$P$1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'[Secondi di Avvisi.xlsx]grafico'!$B$5:$N$5,'[Secondi di Avvisi.xlsx]grafico'!$O$5:$P$5</c:f>
              <c:numCache>
                <c:formatCode>0.0%</c:formatCode>
                <c:ptCount val="15"/>
                <c:pt idx="0">
                  <c:v>0.73613532891600575</c:v>
                </c:pt>
                <c:pt idx="1">
                  <c:v>0.72961983977968436</c:v>
                </c:pt>
                <c:pt idx="2">
                  <c:v>0.71043248698372474</c:v>
                </c:pt>
                <c:pt idx="3">
                  <c:v>0.66197645205733491</c:v>
                </c:pt>
                <c:pt idx="4">
                  <c:v>0.66582315253438729</c:v>
                </c:pt>
                <c:pt idx="5">
                  <c:v>0.68194997094715504</c:v>
                </c:pt>
                <c:pt idx="6">
                  <c:v>0.63547893764978824</c:v>
                </c:pt>
                <c:pt idx="7">
                  <c:v>0.66782325330617132</c:v>
                </c:pt>
                <c:pt idx="8">
                  <c:v>0.69965793574565149</c:v>
                </c:pt>
                <c:pt idx="9">
                  <c:v>0.70448507245238579</c:v>
                </c:pt>
                <c:pt idx="10">
                  <c:v>0.7157401817847141</c:v>
                </c:pt>
                <c:pt idx="11">
                  <c:v>0.66325292138752767</c:v>
                </c:pt>
                <c:pt idx="13">
                  <c:v>0.66604274036004374</c:v>
                </c:pt>
                <c:pt idx="14">
                  <c:v>0.68980217722927517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2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[Secondi di Avvisi.xlsx]grafico'!$B$1:$M$1,'[Secondi di Avvisi.xlsx]grafico'!$O$1:$P$1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'[Secondi di Avvisi.xlsx]grafico'!$B$6:$N$6,'[Secondi di Avvisi.xlsx]grafico'!$O$6:$P$6</c:f>
              <c:numCache>
                <c:formatCode>0.0%</c:formatCode>
                <c:ptCount val="15"/>
                <c:pt idx="0">
                  <c:v>1.6681757247478061E-2</c:v>
                </c:pt>
                <c:pt idx="1">
                  <c:v>1.4163727737164756E-2</c:v>
                </c:pt>
                <c:pt idx="2">
                  <c:v>2.3492192511664414E-2</c:v>
                </c:pt>
                <c:pt idx="3">
                  <c:v>3.4550606247891344E-2</c:v>
                </c:pt>
                <c:pt idx="4">
                  <c:v>2.1568443164715949E-2</c:v>
                </c:pt>
                <c:pt idx="5">
                  <c:v>2.4867512026369967E-2</c:v>
                </c:pt>
                <c:pt idx="6">
                  <c:v>1.5055079886552275E-2</c:v>
                </c:pt>
                <c:pt idx="7">
                  <c:v>1.9011769042120881E-2</c:v>
                </c:pt>
                <c:pt idx="8">
                  <c:v>1.7856208144585214E-2</c:v>
                </c:pt>
                <c:pt idx="9">
                  <c:v>2.1664381012042325E-2</c:v>
                </c:pt>
                <c:pt idx="10">
                  <c:v>1.9244546306546349E-2</c:v>
                </c:pt>
                <c:pt idx="11">
                  <c:v>2.1749368497666653E-2</c:v>
                </c:pt>
                <c:pt idx="13">
                  <c:v>2.5262651808772327E-2</c:v>
                </c:pt>
                <c:pt idx="14">
                  <c:v>2.0994609856522101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87354376"/>
        <c:axId val="87354768"/>
      </c:barChart>
      <c:catAx>
        <c:axId val="873543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7354768"/>
        <c:crosses val="autoZero"/>
        <c:auto val="1"/>
        <c:lblAlgn val="ctr"/>
        <c:lblOffset val="100"/>
        <c:noMultiLvlLbl val="0"/>
      </c:catAx>
      <c:valAx>
        <c:axId val="8735476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87354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355552"/>
        <c:axId val="87355944"/>
      </c:lineChart>
      <c:catAx>
        <c:axId val="873555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87355944"/>
        <c:crosses val="autoZero"/>
        <c:auto val="1"/>
        <c:lblAlgn val="ctr"/>
        <c:lblOffset val="100"/>
        <c:noMultiLvlLbl val="0"/>
      </c:catAx>
      <c:valAx>
        <c:axId val="87355944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8735555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8540911847E-2"/>
          <c:y val="3.20447798745776E-2"/>
          <c:w val="0.92395959226026991"/>
          <c:h val="0.8089880390350833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trendline>
            <c:spPr>
              <a:ln w="22225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33</c:f>
              <c:strCache>
                <c:ptCount val="132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  <c:pt idx="130">
                  <c:v>Novembre</c:v>
                </c:pt>
                <c:pt idx="131">
                  <c:v>Dicembre</c:v>
                </c:pt>
              </c:strCache>
            </c:strRef>
          </c:cat>
          <c:val>
            <c:numRef>
              <c:f>mensile!$D$2:$D$133</c:f>
              <c:numCache>
                <c:formatCode>#,##0</c:formatCode>
                <c:ptCount val="132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34</c:v>
                </c:pt>
                <c:pt idx="109">
                  <c:v>25684</c:v>
                </c:pt>
                <c:pt idx="110">
                  <c:v>29780</c:v>
                </c:pt>
                <c:pt idx="111">
                  <c:v>26671</c:v>
                </c:pt>
                <c:pt idx="112">
                  <c:v>31810</c:v>
                </c:pt>
                <c:pt idx="113">
                  <c:v>30617</c:v>
                </c:pt>
                <c:pt idx="114">
                  <c:v>30419</c:v>
                </c:pt>
                <c:pt idx="115">
                  <c:v>12086</c:v>
                </c:pt>
                <c:pt idx="116">
                  <c:v>25565</c:v>
                </c:pt>
                <c:pt idx="117">
                  <c:v>32296</c:v>
                </c:pt>
                <c:pt idx="118">
                  <c:v>34072</c:v>
                </c:pt>
                <c:pt idx="119">
                  <c:v>28783</c:v>
                </c:pt>
                <c:pt idx="120">
                  <c:v>19986</c:v>
                </c:pt>
                <c:pt idx="121">
                  <c:v>24825</c:v>
                </c:pt>
                <c:pt idx="122">
                  <c:v>29755</c:v>
                </c:pt>
                <c:pt idx="123">
                  <c:v>27509</c:v>
                </c:pt>
                <c:pt idx="124">
                  <c:v>36475</c:v>
                </c:pt>
                <c:pt idx="125">
                  <c:v>33335</c:v>
                </c:pt>
                <c:pt idx="126">
                  <c:v>28882</c:v>
                </c:pt>
                <c:pt idx="127">
                  <c:v>12053</c:v>
                </c:pt>
                <c:pt idx="128">
                  <c:v>28568</c:v>
                </c:pt>
                <c:pt idx="129">
                  <c:v>37030</c:v>
                </c:pt>
                <c:pt idx="130">
                  <c:v>37126</c:v>
                </c:pt>
                <c:pt idx="131">
                  <c:v>288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7356728"/>
        <c:axId val="87357120"/>
      </c:lineChart>
      <c:catAx>
        <c:axId val="87356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noFill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87357120"/>
        <c:crosses val="autoZero"/>
        <c:auto val="1"/>
        <c:lblAlgn val="ctr"/>
        <c:lblOffset val="100"/>
        <c:noMultiLvlLbl val="0"/>
      </c:catAx>
      <c:valAx>
        <c:axId val="87357120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87356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037620548826143E-2"/>
          <c:y val="2.6976426538348655E-2"/>
          <c:w val="0.92294778905461894"/>
          <c:h val="0.81330860799352134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33</c:f>
              <c:strCache>
                <c:ptCount val="121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222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33</c:f>
              <c:strCache>
                <c:ptCount val="121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</c:strCache>
            </c:strRef>
          </c:cat>
          <c:val>
            <c:numRef>
              <c:f>mensile!$E$13:$E$133</c:f>
              <c:numCache>
                <c:formatCode>#,##0</c:formatCode>
                <c:ptCount val="121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75</c:v>
                </c:pt>
                <c:pt idx="98">
                  <c:v>26698.25</c:v>
                </c:pt>
                <c:pt idx="99">
                  <c:v>26737.666666666668</c:v>
                </c:pt>
                <c:pt idx="100">
                  <c:v>26819.5</c:v>
                </c:pt>
                <c:pt idx="101">
                  <c:v>26852.333333333332</c:v>
                </c:pt>
                <c:pt idx="102">
                  <c:v>26726.666666666668</c:v>
                </c:pt>
                <c:pt idx="103">
                  <c:v>26793.666666666668</c:v>
                </c:pt>
                <c:pt idx="104">
                  <c:v>26859.916666666668</c:v>
                </c:pt>
                <c:pt idx="105">
                  <c:v>26757.166666666668</c:v>
                </c:pt>
                <c:pt idx="106">
                  <c:v>26679.416666666668</c:v>
                </c:pt>
                <c:pt idx="107">
                  <c:v>26937.75</c:v>
                </c:pt>
                <c:pt idx="108">
                  <c:v>27251.416666666668</c:v>
                </c:pt>
                <c:pt idx="109">
                  <c:v>27314.083333333332</c:v>
                </c:pt>
                <c:pt idx="110">
                  <c:v>27242.5</c:v>
                </c:pt>
                <c:pt idx="111">
                  <c:v>27240.416666666668</c:v>
                </c:pt>
                <c:pt idx="112">
                  <c:v>27310.25</c:v>
                </c:pt>
                <c:pt idx="113">
                  <c:v>27699</c:v>
                </c:pt>
                <c:pt idx="114">
                  <c:v>27925.5</c:v>
                </c:pt>
                <c:pt idx="115">
                  <c:v>27797.416666666668</c:v>
                </c:pt>
                <c:pt idx="116">
                  <c:v>27794.666666666668</c:v>
                </c:pt>
                <c:pt idx="117">
                  <c:v>28044.916666666668</c:v>
                </c:pt>
                <c:pt idx="118">
                  <c:v>28439.416666666668</c:v>
                </c:pt>
                <c:pt idx="119">
                  <c:v>28693.916666666668</c:v>
                </c:pt>
                <c:pt idx="120">
                  <c:v>28700.5833333333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248848"/>
        <c:axId val="201249240"/>
      </c:lineChart>
      <c:catAx>
        <c:axId val="201248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sz="1000">
                <a:noFill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1249240"/>
        <c:crosses val="autoZero"/>
        <c:auto val="0"/>
        <c:lblAlgn val="ctr"/>
        <c:lblOffset val="100"/>
        <c:noMultiLvlLbl val="0"/>
      </c:catAx>
      <c:valAx>
        <c:axId val="201249240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124884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DICEMBRE 2017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4 gennaio 2018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2970383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– Dicembre 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 SPECIAL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Nuova da Gennaio 2017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7715967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– Dicembre 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 2015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Chiusa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da Dicembre 2016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e 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969153"/>
              </p:ext>
            </p:extLst>
          </p:nvPr>
        </p:nvGraphicFramePr>
        <p:xfrm>
          <a:off x="299357" y="1077886"/>
          <a:ext cx="11593287" cy="4715335"/>
        </p:xfrm>
        <a:graphic>
          <a:graphicData uri="http://schemas.openxmlformats.org/drawingml/2006/table">
            <a:tbl>
              <a:tblPr/>
              <a:tblGrid>
                <a:gridCol w="936104"/>
                <a:gridCol w="972745"/>
                <a:gridCol w="734881"/>
                <a:gridCol w="734881"/>
                <a:gridCol w="734881"/>
                <a:gridCol w="734881"/>
                <a:gridCol w="734881"/>
                <a:gridCol w="734881"/>
                <a:gridCol w="734881"/>
                <a:gridCol w="734881"/>
                <a:gridCol w="734881"/>
                <a:gridCol w="734881"/>
                <a:gridCol w="734881"/>
                <a:gridCol w="734881"/>
                <a:gridCol w="86586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r>
                        <a:rPr lang="it-IT" sz="1300" b="1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8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3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1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7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.62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6.8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1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.9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8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.9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5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4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08.6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.5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.5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21.69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4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31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ipologie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</a:t>
            </a:r>
            <a:r>
              <a:rPr lang="it-IT" altLang="it-IT" sz="18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)</a:t>
            </a:r>
            <a:endParaRPr lang="it-IT" altLang="it-IT" sz="18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6238965"/>
              </p:ext>
            </p:extLst>
          </p:nvPr>
        </p:nvGraphicFramePr>
        <p:xfrm>
          <a:off x="191345" y="980728"/>
          <a:ext cx="11809311" cy="4791575"/>
        </p:xfrm>
        <a:graphic>
          <a:graphicData uri="http://schemas.openxmlformats.org/drawingml/2006/table">
            <a:tbl>
              <a:tblPr/>
              <a:tblGrid>
                <a:gridCol w="936104"/>
                <a:gridCol w="1057470"/>
                <a:gridCol w="739967"/>
                <a:gridCol w="739967"/>
                <a:gridCol w="739967"/>
                <a:gridCol w="739967"/>
                <a:gridCol w="739967"/>
                <a:gridCol w="739967"/>
                <a:gridCol w="739967"/>
                <a:gridCol w="739967"/>
                <a:gridCol w="739967"/>
                <a:gridCol w="739967"/>
                <a:gridCol w="739967"/>
                <a:gridCol w="739967"/>
                <a:gridCol w="936133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8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9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1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8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5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.41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9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4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.9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7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9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Avvisi Nazional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1403738"/>
              </p:ext>
            </p:extLst>
          </p:nvPr>
        </p:nvGraphicFramePr>
        <p:xfrm>
          <a:off x="150277" y="1135326"/>
          <a:ext cx="11891446" cy="503072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29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5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1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3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4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7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9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2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6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7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7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9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5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9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2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8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6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2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8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8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4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v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3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6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04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.3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c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4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5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6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4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3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6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2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31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72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.4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.8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3.5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8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9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8493122"/>
              </p:ext>
            </p:extLst>
          </p:nvPr>
        </p:nvGraphicFramePr>
        <p:xfrm>
          <a:off x="75798" y="996232"/>
          <a:ext cx="12040404" cy="489600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771546"/>
                <a:gridCol w="809286"/>
                <a:gridCol w="796361"/>
                <a:gridCol w="841671"/>
                <a:gridCol w="751051"/>
                <a:gridCol w="796361"/>
                <a:gridCol w="868757"/>
                <a:gridCol w="796361"/>
                <a:gridCol w="796361"/>
                <a:gridCol w="796361"/>
                <a:gridCol w="878821"/>
                <a:gridCol w="874473"/>
                <a:gridCol w="606810"/>
                <a:gridCol w="820558"/>
                <a:gridCol w="835626"/>
              </a:tblGrid>
              <a:tr h="420911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2016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r>
                        <a:rPr lang="it-IT" sz="10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8247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00.456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54.30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513.678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014.361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96.355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713.922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366.83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06.163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71.334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303.654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75.49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083.124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.457.29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.599.688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Gra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942456"/>
              </p:ext>
            </p:extLst>
          </p:nvPr>
        </p:nvGraphicFramePr>
        <p:xfrm>
          <a:off x="-75691" y="1558351"/>
          <a:ext cx="12343381" cy="4966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50700771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7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Dicembre 2017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617720" y="1037424"/>
            <a:ext cx="10956560" cy="5820576"/>
            <a:chOff x="684056" y="1037424"/>
            <a:chExt cx="10956560" cy="5820576"/>
          </a:xfrm>
        </p:grpSpPr>
        <p:sp>
          <p:nvSpPr>
            <p:cNvPr id="34" name="Rettangolo 33"/>
            <p:cNvSpPr/>
            <p:nvPr/>
          </p:nvSpPr>
          <p:spPr bwMode="auto">
            <a:xfrm>
              <a:off x="6991936" y="1497898"/>
              <a:ext cx="936463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3288744" y="1501239"/>
              <a:ext cx="936463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427714" y="1498892"/>
              <a:ext cx="936463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5141028" y="1501241"/>
              <a:ext cx="936463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1452834" y="1153234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ttangolo 49"/>
            <p:cNvSpPr/>
            <p:nvPr/>
          </p:nvSpPr>
          <p:spPr bwMode="auto">
            <a:xfrm>
              <a:off x="8838831" y="1500709"/>
              <a:ext cx="936463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53" name="Grafico 5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5901241"/>
                </p:ext>
              </p:extLst>
            </p:nvPr>
          </p:nvGraphicFramePr>
          <p:xfrm>
            <a:off x="715166" y="1037424"/>
            <a:ext cx="10799572" cy="51579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4" name="Rettangolo 53"/>
            <p:cNvSpPr/>
            <p:nvPr/>
          </p:nvSpPr>
          <p:spPr bwMode="auto">
            <a:xfrm>
              <a:off x="10680218" y="1501741"/>
              <a:ext cx="795600" cy="4471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2395455" y="1154900"/>
              <a:ext cx="900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3324730" y="1155719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5159583" y="1155719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4248347" y="1154566"/>
              <a:ext cx="900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6088281" y="1152684"/>
              <a:ext cx="900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7000688" y="1155859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7936885" y="1154612"/>
              <a:ext cx="900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8865965" y="1156357"/>
              <a:ext cx="900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9799688" y="1151262"/>
              <a:ext cx="864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8" name="CasellaDiTesto 57"/>
            <p:cNvSpPr txBox="1"/>
            <p:nvPr/>
          </p:nvSpPr>
          <p:spPr>
            <a:xfrm>
              <a:off x="10701693" y="1152883"/>
              <a:ext cx="756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6" name="Grafico 2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146523410"/>
                </p:ext>
              </p:extLst>
            </p:nvPr>
          </p:nvGraphicFramePr>
          <p:xfrm>
            <a:off x="684056" y="1325336"/>
            <a:ext cx="10956560" cy="55326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Dicembre 2017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749826" y="1255111"/>
            <a:ext cx="10692348" cy="5429672"/>
            <a:chOff x="804252" y="1255111"/>
            <a:chExt cx="10692348" cy="5429672"/>
          </a:xfrm>
        </p:grpSpPr>
        <p:sp>
          <p:nvSpPr>
            <p:cNvPr id="28" name="Rettangolo 27"/>
            <p:cNvSpPr/>
            <p:nvPr/>
          </p:nvSpPr>
          <p:spPr bwMode="auto">
            <a:xfrm>
              <a:off x="7464152" y="1713207"/>
              <a:ext cx="1085504" cy="41508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9564153" y="1715995"/>
              <a:ext cx="1085504" cy="41508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417775" y="1726122"/>
              <a:ext cx="1085504" cy="4140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3424706" y="1715353"/>
              <a:ext cx="1085504" cy="415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9" name="Rettangolo 38"/>
            <p:cNvSpPr/>
            <p:nvPr/>
          </p:nvSpPr>
          <p:spPr bwMode="auto">
            <a:xfrm>
              <a:off x="5442464" y="1718036"/>
              <a:ext cx="1085504" cy="41508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1425508" y="1259071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CasellaDiTesto 21"/>
            <p:cNvSpPr txBox="1"/>
            <p:nvPr/>
          </p:nvSpPr>
          <p:spPr>
            <a:xfrm>
              <a:off x="2542287" y="1260766"/>
              <a:ext cx="864000" cy="280143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3463483" y="1261599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5475310" y="1261599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4573514" y="1260426"/>
              <a:ext cx="864000" cy="277562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6608239" y="1258511"/>
              <a:ext cx="864000" cy="281417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7515727" y="1261742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CasellaDiTesto 42"/>
            <p:cNvSpPr txBox="1"/>
            <p:nvPr/>
          </p:nvSpPr>
          <p:spPr>
            <a:xfrm>
              <a:off x="8645243" y="1260473"/>
              <a:ext cx="864000" cy="281417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44" name="CasellaDiTesto 43"/>
            <p:cNvSpPr txBox="1"/>
            <p:nvPr/>
          </p:nvSpPr>
          <p:spPr>
            <a:xfrm>
              <a:off x="9591947" y="1262248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CasellaDiTesto 44"/>
            <p:cNvSpPr txBox="1"/>
            <p:nvPr/>
          </p:nvSpPr>
          <p:spPr>
            <a:xfrm>
              <a:off x="10706170" y="1255111"/>
              <a:ext cx="540000" cy="281417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graphicFrame>
          <p:nvGraphicFramePr>
            <p:cNvPr id="29" name="Grafico 2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91602875"/>
                </p:ext>
              </p:extLst>
            </p:nvPr>
          </p:nvGraphicFramePr>
          <p:xfrm>
            <a:off x="804252" y="1577472"/>
            <a:ext cx="10692348" cy="51073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2326</TotalTime>
  <Words>912</Words>
  <Application>Microsoft Office PowerPoint</Application>
  <PresentationFormat>Widescreen</PresentationFormat>
  <Paragraphs>740</Paragraphs>
  <Slides>9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9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elvaggi Laura</cp:lastModifiedBy>
  <cp:revision>1943</cp:revision>
  <cp:lastPrinted>2017-12-19T11:26:10Z</cp:lastPrinted>
  <dcterms:created xsi:type="dcterms:W3CDTF">2006-03-29T09:09:15Z</dcterms:created>
  <dcterms:modified xsi:type="dcterms:W3CDTF">2018-01-22T14:40:46Z</dcterms:modified>
</cp:coreProperties>
</file>